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0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5186E-E178-9361-DDF2-77FFA10C9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EE1CF-0546-CA2C-DCBF-357F4B187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EE1CF-0546-CA2C-DCBF-357F4B187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F2A60-5F13-AA1D-6808-0C368190D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1DE11-1E84-7D8E-6257-167B04351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Google Shape;113;p11">
            <a:extLst>
              <a:ext uri="{FF2B5EF4-FFF2-40B4-BE49-F238E27FC236}">
                <a16:creationId xmlns:a16="http://schemas.microsoft.com/office/drawing/2014/main" id="{39D7621F-C6BA-906B-E0E6-FE742E5DDA19}"/>
              </a:ext>
            </a:extLst>
          </p:cNvPr>
          <p:cNvSpPr/>
          <p:nvPr/>
        </p:nvSpPr>
        <p:spPr>
          <a:xfrm>
            <a:off x="0" y="5952047"/>
            <a:ext cx="12193200" cy="4571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34275" tIns="17125" rIns="34275" bIns="17125" anchor="ctr" anchorCtr="0">
            <a:noAutofit/>
          </a:bodyPr>
          <a:lstStyle/>
          <a:p>
            <a:pPr algn="ctr"/>
            <a:endParaRPr sz="1200" dirty="0">
              <a:solidFill>
                <a:srgbClr val="FFFFFF"/>
              </a:solidFill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40ADB5-B1BC-750B-579D-1FB75A8D2EFF}"/>
              </a:ext>
            </a:extLst>
          </p:cNvPr>
          <p:cNvCxnSpPr>
            <a:cxnSpLocks/>
          </p:cNvCxnSpPr>
          <p:nvPr/>
        </p:nvCxnSpPr>
        <p:spPr>
          <a:xfrm>
            <a:off x="-1200" y="1597660"/>
            <a:ext cx="12193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1C61B7E9-E61E-4C71-F073-A709E7F7F04E}"/>
              </a:ext>
            </a:extLst>
          </p:cNvPr>
          <p:cNvSpPr/>
          <p:nvPr/>
        </p:nvSpPr>
        <p:spPr>
          <a:xfrm>
            <a:off x="487102" y="1299210"/>
            <a:ext cx="596900" cy="596900"/>
          </a:xfrm>
          <a:prstGeom prst="ellipse">
            <a:avLst/>
          </a:prstGeom>
          <a:solidFill>
            <a:schemeClr val="accent4"/>
          </a:solidFill>
          <a:ln w="12700">
            <a:solidFill>
              <a:srgbClr val="05BA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5B0569-4397-E350-CA45-1A09D7EC7668}"/>
              </a:ext>
            </a:extLst>
          </p:cNvPr>
          <p:cNvCxnSpPr>
            <a:cxnSpLocks/>
          </p:cNvCxnSpPr>
          <p:nvPr/>
        </p:nvCxnSpPr>
        <p:spPr>
          <a:xfrm>
            <a:off x="785552" y="1896110"/>
            <a:ext cx="0" cy="410165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4ADFA4D-4D55-0AFE-E0C2-3A113D2FF649}"/>
              </a:ext>
            </a:extLst>
          </p:cNvPr>
          <p:cNvSpPr txBox="1"/>
          <p:nvPr/>
        </p:nvSpPr>
        <p:spPr>
          <a:xfrm>
            <a:off x="1084001" y="189611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82CC79-ABAE-2E72-8149-E52E4341897B}"/>
              </a:ext>
            </a:extLst>
          </p:cNvPr>
          <p:cNvSpPr txBox="1"/>
          <p:nvPr/>
        </p:nvSpPr>
        <p:spPr>
          <a:xfrm>
            <a:off x="1084001" y="276897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A0F380-E531-4389-E04D-EC4F104C8187}"/>
              </a:ext>
            </a:extLst>
          </p:cNvPr>
          <p:cNvSpPr txBox="1"/>
          <p:nvPr/>
        </p:nvSpPr>
        <p:spPr>
          <a:xfrm>
            <a:off x="1084001" y="3641840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3D7CBF-82DE-EABC-D11F-EFFB2B79D9B5}"/>
              </a:ext>
            </a:extLst>
          </p:cNvPr>
          <p:cNvSpPr txBox="1"/>
          <p:nvPr/>
        </p:nvSpPr>
        <p:spPr>
          <a:xfrm>
            <a:off x="1084001" y="4514705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BDF4D1-7D54-F5BE-46BC-137D3857591B}"/>
              </a:ext>
            </a:extLst>
          </p:cNvPr>
          <p:cNvSpPr txBox="1"/>
          <p:nvPr/>
        </p:nvSpPr>
        <p:spPr>
          <a:xfrm>
            <a:off x="1084001" y="5387572"/>
            <a:ext cx="10800000" cy="447851"/>
          </a:xfrm>
          <a:prstGeom prst="rect">
            <a:avLst/>
          </a:prstGeom>
          <a:noFill/>
        </p:spPr>
        <p:txBody>
          <a:bodyPr wrap="square" lIns="90000" tIns="90000" rIns="90000" bIns="79200" rtlCol="0" anchor="ctr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dirty="0">
                <a:cs typeface="Arial" panose="020B0604020202020204" pitchFamily="34" charset="0"/>
              </a:rPr>
              <a:t>Insert Text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572FAD5-80A4-13D5-83A5-A25AA9DB3DE9}"/>
              </a:ext>
            </a:extLst>
          </p:cNvPr>
          <p:cNvGrpSpPr/>
          <p:nvPr/>
        </p:nvGrpSpPr>
        <p:grpSpPr>
          <a:xfrm>
            <a:off x="792479" y="2556468"/>
            <a:ext cx="11376000" cy="2618595"/>
            <a:chOff x="1084001" y="2556468"/>
            <a:chExt cx="10800000" cy="261859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0454D1-9727-2694-FFE1-65AE89FDD01F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255646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3D215D8-7A63-53B6-4F03-02D68C4B9666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342933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94D6D33-26A0-373E-A6E9-540EC0216E7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4302198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AAE36EF-C4EC-AA82-3C16-629A398EF5F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001" y="5175063"/>
              <a:ext cx="1080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5110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1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Roboto</vt:lpstr>
      <vt:lpstr>Verdana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10</cp:revision>
  <dcterms:created xsi:type="dcterms:W3CDTF">2021-03-31T02:49:57Z</dcterms:created>
  <dcterms:modified xsi:type="dcterms:W3CDTF">2025-10-16T11:12:15Z</dcterms:modified>
  <cp:category/>
</cp:coreProperties>
</file>